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7" r:id="rId2"/>
  </p:sldIdLst>
  <p:sldSz cx="12192000" cy="6858000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1"/>
    <p:restoredTop sz="94663"/>
  </p:normalViewPr>
  <p:slideViewPr>
    <p:cSldViewPr snapToGrid="0" snapToObjects="1" showGuides="1">
      <p:cViewPr varScale="1">
        <p:scale>
          <a:sx n="121" d="100"/>
          <a:sy n="121" d="100"/>
        </p:scale>
        <p:origin x="200" y="2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B9BC02-1C16-C144-9FED-1929E8C4A7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04F64DF-C6B8-1A49-ABF8-DF0A98D8D8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A75375-46D2-6241-92FC-5B88444A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F6731-32D3-8648-A4D6-063F2CAD4A26}" type="datetimeFigureOut">
              <a:rPr lang="en-GB" smtClean="0"/>
              <a:t>02/07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904874-FF28-964D-B524-C5B6717F5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C06F98-74B4-CB46-B33D-16C1BA7B09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04D29-18A3-7B48-BDE2-4EDD54C22A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38582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F3C2EC-13D1-9B47-A7AD-93FB5950BA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086D486-6442-2E4F-BC30-FCC0CCAA81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53B69C9-E1A2-DC46-BC62-C6991E1C7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F6731-32D3-8648-A4D6-063F2CAD4A26}" type="datetimeFigureOut">
              <a:rPr lang="en-GB" smtClean="0"/>
              <a:t>02/07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2B0021-64A4-FF49-AB4F-DC00548AD3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6CF374D-486F-6D4C-8FA7-A98B0110F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04D29-18A3-7B48-BDE2-4EDD54C22A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7910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EEF8DC04-12D3-D148-A0C3-C1E573DF029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7E855AC-A55E-9F40-A1AF-74C1F60950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C506EE6-73AC-E647-BFB5-1E63BA5C0F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F6731-32D3-8648-A4D6-063F2CAD4A26}" type="datetimeFigureOut">
              <a:rPr lang="en-GB" smtClean="0"/>
              <a:t>02/07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ADEB19-61D9-CA40-A7B5-75AF921585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7348CF7-6322-A14C-BA3B-F26F610BFA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04D29-18A3-7B48-BDE2-4EDD54C22A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8233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F09851-505A-624E-A7C4-7742F7E30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2FE1101-AAA2-354E-8675-DCA99A836A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5C64194-5641-FB47-803C-E942342770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F6731-32D3-8648-A4D6-063F2CAD4A26}" type="datetimeFigureOut">
              <a:rPr lang="en-GB" smtClean="0"/>
              <a:t>02/07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F613F23-832A-784E-9F9D-978762FA3A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9545126-AC46-F54F-9198-0D1AA2CB4A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04D29-18A3-7B48-BDE2-4EDD54C22A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02449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CECC32-42E0-5240-A93F-C5825EF50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5727F4-11A7-AE48-BD45-72B66F0229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BD25F75-5332-A141-B8A6-6230AD842B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F6731-32D3-8648-A4D6-063F2CAD4A26}" type="datetimeFigureOut">
              <a:rPr lang="en-GB" smtClean="0"/>
              <a:t>02/07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363229D-B05C-F44E-8D29-CD4D1E4ED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0988BAF-B53F-414F-9F9E-2AF3104F2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04D29-18A3-7B48-BDE2-4EDD54C22A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65934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80EC32-C433-9E4A-8B50-5909AC153F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1EB709E-A946-B046-A7A4-C731D457F1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8CE787B-6375-FD4B-A954-4AE7B0C504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FB9D46D-E55F-414E-8D5F-9D848B9395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F6731-32D3-8648-A4D6-063F2CAD4A26}" type="datetimeFigureOut">
              <a:rPr lang="en-GB" smtClean="0"/>
              <a:t>02/07/2019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7C2C3A1-1CB8-B940-9ECE-E2EEB23234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181344E-83BB-F34C-99EC-E49968372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04D29-18A3-7B48-BDE2-4EDD54C22A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3302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460A8D-E5F1-2F43-AB6B-3C401A273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6A8F15-058B-C042-BB52-8C3B80A8A0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AF9EA6-6DAE-854C-806A-E10DC5052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48046E0-515B-1140-B926-211736454E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8AA503B-E99B-0348-9A2D-F106B07E005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C87CF66-4CA9-384D-9608-2598D9DE6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F6731-32D3-8648-A4D6-063F2CAD4A26}" type="datetimeFigureOut">
              <a:rPr lang="en-GB" smtClean="0"/>
              <a:t>02/07/2019</a:t>
            </a:fld>
            <a:endParaRPr lang="en-GB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79661A1-6C60-844A-A0BD-471F34A2B0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493ACFE-62B1-A74A-A28B-A06E67699C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04D29-18A3-7B48-BDE2-4EDD54C22A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44920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7AFFE6-1B04-814F-9C7D-42E7D56D45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78CF02-6041-A247-B4D6-4459819C2C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F6731-32D3-8648-A4D6-063F2CAD4A26}" type="datetimeFigureOut">
              <a:rPr lang="en-GB" smtClean="0"/>
              <a:t>02/07/2019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C005EF9-E40C-D246-895A-61799FE0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E9AB6FA-22E2-4D4A-AEC1-0B96EABA48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04D29-18A3-7B48-BDE2-4EDD54C22A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95084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E3190A7-0EC5-3540-A0E9-A565361BDD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F6731-32D3-8648-A4D6-063F2CAD4A26}" type="datetimeFigureOut">
              <a:rPr lang="en-GB" smtClean="0"/>
              <a:t>02/07/2019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547DCAB-2FA1-E145-B0F5-C4FECB35D1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68163F-2967-FC46-BFF7-AF0E8211BC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04D29-18A3-7B48-BDE2-4EDD54C22A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91644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ED79F6-C730-E34C-9619-AE1936EBBE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CD66240-F0F2-6E41-AD79-AF6F17A82D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B4CA2EC-BC53-124D-BC87-DEFEFDEEA5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17960D7-E205-1B44-9F4B-A807BDB5A2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F6731-32D3-8648-A4D6-063F2CAD4A26}" type="datetimeFigureOut">
              <a:rPr lang="en-GB" smtClean="0"/>
              <a:t>02/07/2019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B70CD4D-7D36-E842-ACD5-E1997966D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71AEF6-F17F-2649-ABD5-31272A66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04D29-18A3-7B48-BDE2-4EDD54C22A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67391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CB4429-4FA0-4346-8AB9-A82DA6A1C6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DC3EF4A-41F3-3648-956D-03C1282063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C3D8BF2-73C3-0D4C-9E0F-05350243BE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82B0A8-31DC-E24D-94DC-9E2A879C67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F6731-32D3-8648-A4D6-063F2CAD4A26}" type="datetimeFigureOut">
              <a:rPr lang="en-GB" smtClean="0"/>
              <a:t>02/07/2019</a:t>
            </a:fld>
            <a:endParaRPr lang="en-GB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A3F741-704A-1844-9AD6-32408D640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4AB22D5-2664-C34E-A009-9908CC70B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104D29-18A3-7B48-BDE2-4EDD54C22A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01304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FF310AE-0333-CF4A-A93C-BA84E8F2C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C123AE7-FF4A-5041-9905-F81E98E21D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42BD144-8C81-8F4E-9BC1-F306B982E5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1F6731-32D3-8648-A4D6-063F2CAD4A26}" type="datetimeFigureOut">
              <a:rPr lang="en-GB" smtClean="0"/>
              <a:t>02/07/2019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4208F5-6732-C642-8623-3FBCCEC496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E38B93-79A8-E043-BF7D-C51DC89C11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104D29-18A3-7B48-BDE2-4EDD54C22A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264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C2CB259-563E-1D47-9C28-504276E01D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6491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13B910E2-37E2-6E47-BDB8-C9814C8BED3A}"/>
              </a:ext>
            </a:extLst>
          </p:cNvPr>
          <p:cNvSpPr/>
          <p:nvPr/>
        </p:nvSpPr>
        <p:spPr>
          <a:xfrm>
            <a:off x="685800" y="528638"/>
            <a:ext cx="4725077" cy="580509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itlePanel</a:t>
            </a:r>
            <a:endParaRPr lang="en-GB" sz="12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59D1735-696F-6A43-B318-56EFF13A6EF1}"/>
              </a:ext>
            </a:extLst>
          </p:cNvPr>
          <p:cNvSpPr/>
          <p:nvPr/>
        </p:nvSpPr>
        <p:spPr>
          <a:xfrm>
            <a:off x="685800" y="1376855"/>
            <a:ext cx="2572181" cy="3356746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idebarPanel</a:t>
            </a:r>
            <a:endParaRPr lang="en-GB" sz="12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C84C118-C19D-2845-9FF1-06E9362F551A}"/>
              </a:ext>
            </a:extLst>
          </p:cNvPr>
          <p:cNvSpPr/>
          <p:nvPr/>
        </p:nvSpPr>
        <p:spPr>
          <a:xfrm>
            <a:off x="3563009" y="1376855"/>
            <a:ext cx="7200121" cy="4866289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inPanel</a:t>
            </a:r>
            <a:endParaRPr lang="en-GB" sz="12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" name="Geschweifte Klammer rechts 8">
            <a:extLst>
              <a:ext uri="{FF2B5EF4-FFF2-40B4-BE49-F238E27FC236}">
                <a16:creationId xmlns:a16="http://schemas.microsoft.com/office/drawing/2014/main" id="{AB00E412-BB84-4542-9C44-392C6C755B2A}"/>
              </a:ext>
            </a:extLst>
          </p:cNvPr>
          <p:cNvSpPr/>
          <p:nvPr/>
        </p:nvSpPr>
        <p:spPr>
          <a:xfrm>
            <a:off x="10983311" y="528638"/>
            <a:ext cx="399393" cy="5714506"/>
          </a:xfrm>
          <a:prstGeom prst="rightBrac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6CD0BF9-453E-4E48-8FEF-EBB1056F313A}"/>
              </a:ext>
            </a:extLst>
          </p:cNvPr>
          <p:cNvSpPr txBox="1"/>
          <p:nvPr/>
        </p:nvSpPr>
        <p:spPr>
          <a:xfrm rot="16200000">
            <a:off x="10880324" y="3247391"/>
            <a:ext cx="13740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fluidPage</a:t>
            </a:r>
            <a:r>
              <a:rPr lang="en-GB" sz="1200" dirty="0">
                <a:latin typeface="Consolas" panose="020B0609020204030204" pitchFamily="49" charset="0"/>
                <a:cs typeface="Consolas" panose="020B0609020204030204" pitchFamily="49" charset="0"/>
              </a:rPr>
              <a:t> (UI)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402D950-0511-1243-B3AC-A038FAFAEB28}"/>
              </a:ext>
            </a:extLst>
          </p:cNvPr>
          <p:cNvSpPr txBox="1"/>
          <p:nvPr/>
        </p:nvSpPr>
        <p:spPr>
          <a:xfrm>
            <a:off x="1292773" y="5481145"/>
            <a:ext cx="12891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sidebarLayout</a:t>
            </a:r>
            <a:endParaRPr lang="en-GB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B9E5E90F-053B-1C46-827E-FE1ADCA6DDEA}"/>
              </a:ext>
            </a:extLst>
          </p:cNvPr>
          <p:cNvCxnSpPr/>
          <p:nvPr/>
        </p:nvCxnSpPr>
        <p:spPr>
          <a:xfrm flipV="1">
            <a:off x="1937340" y="4887310"/>
            <a:ext cx="0" cy="513392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9305EEA3-47D9-A446-9659-42342F168A4E}"/>
              </a:ext>
            </a:extLst>
          </p:cNvPr>
          <p:cNvCxnSpPr>
            <a:cxnSpLocks/>
          </p:cNvCxnSpPr>
          <p:nvPr/>
        </p:nvCxnSpPr>
        <p:spPr>
          <a:xfrm rot="5400000" flipV="1">
            <a:off x="2922684" y="5362948"/>
            <a:ext cx="0" cy="513392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16791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</Words>
  <Application>Microsoft Macintosh PowerPoint</Application>
  <PresentationFormat>Breitbild</PresentationFormat>
  <Paragraphs>5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Consolas</vt:lpstr>
      <vt:lpstr>Office</vt:lpstr>
      <vt:lpstr>think-cell Foli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enjamin Buchwitz</dc:creator>
  <cp:lastModifiedBy>Benjamin Buchwitz</cp:lastModifiedBy>
  <cp:revision>4</cp:revision>
  <dcterms:created xsi:type="dcterms:W3CDTF">2019-07-02T10:37:11Z</dcterms:created>
  <dcterms:modified xsi:type="dcterms:W3CDTF">2019-07-02T10:47:15Z</dcterms:modified>
</cp:coreProperties>
</file>